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256" r:id="rId2"/>
    <p:sldId id="1092" r:id="rId3"/>
    <p:sldId id="1093" r:id="rId4"/>
    <p:sldId id="267" r:id="rId5"/>
    <p:sldId id="1096" r:id="rId6"/>
    <p:sldId id="270" r:id="rId7"/>
    <p:sldId id="1084" r:id="rId8"/>
    <p:sldId id="1085" r:id="rId9"/>
    <p:sldId id="1091" r:id="rId10"/>
    <p:sldId id="1097" r:id="rId11"/>
    <p:sldId id="1099" r:id="rId12"/>
    <p:sldId id="265" r:id="rId13"/>
    <p:sldId id="1081" r:id="rId14"/>
  </p:sldIdLst>
  <p:sldSz cx="12192000" cy="6858000"/>
  <p:notesSz cx="6858000" cy="9144000"/>
  <p:custDataLst>
    <p:tags r:id="rId17"/>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Lister</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0"/>
              <c:layout>
                <c:manualLayout>
                  <c:x val="5.746251454447291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DF-421E-B3AA-BAD2F19BC291}"/>
                </c:ext>
              </c:extLst>
            </c:dLbl>
            <c:dLbl>
              <c:idx val="1"/>
              <c:layout>
                <c:manualLayout>
                  <c:x val="6.678076014627933E-2"/>
                  <c:y val="7.461283575776088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ADF-421E-B3AA-BAD2F19BC291}"/>
                </c:ext>
              </c:extLst>
            </c:dLbl>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delete val="1"/>
              <c:extLst>
                <c:ext xmlns:c15="http://schemas.microsoft.com/office/drawing/2012/chart" uri="{CE6537A1-D6FC-4f65-9D91-7224C49458BB}"/>
                <c:ext xmlns:c16="http://schemas.microsoft.com/office/drawing/2014/chart" uri="{C3380CC4-5D6E-409C-BE32-E72D297353CC}">
                  <c16:uniqueId val="{00000007-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21418.318260123782</c:v>
                </c:pt>
                <c:pt idx="1">
                  <c:v>13312.06175764105</c:v>
                </c:pt>
                <c:pt idx="2">
                  <c:v>0</c:v>
                </c:pt>
                <c:pt idx="3">
                  <c:v>412.40921471487053</c:v>
                </c:pt>
                <c:pt idx="4">
                  <c:v>86099.046211631736</c:v>
                </c:pt>
                <c:pt idx="5">
                  <c:v>0</c:v>
                </c:pt>
                <c:pt idx="6">
                  <c:v>6116.4117278450367</c:v>
                </c:pt>
                <c:pt idx="7">
                  <c:v>78996.749465853616</c:v>
                </c:pt>
                <c:pt idx="8">
                  <c:v>73267.491325488241</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Lister</c:v>
                </c:pt>
              </c:strCache>
            </c:strRef>
          </c:tx>
          <c:spPr>
            <a:ln w="12700">
              <a:solidFill>
                <a:schemeClr val="bg1"/>
              </a:solidFill>
            </a:ln>
          </c:spPr>
          <c:dLbls>
            <c:dLbl>
              <c:idx val="0"/>
              <c:spPr>
                <a:solidFill>
                  <a:srgbClr val="FFFFFF"/>
                </a:solidFill>
                <a:ln>
                  <a:solidFill>
                    <a:srgbClr val="323232">
                      <a:lumMod val="65000"/>
                      <a:lumOff val="35000"/>
                    </a:srgbClr>
                  </a:solidFill>
                </a:ln>
                <a:effectLst/>
              </c:spPr>
              <c:txPr>
                <a:bodyPr wrap="square" lIns="38100" tIns="19050" rIns="38100" bIns="19050" anchor="ctr">
                  <a:spAutoFit/>
                </a:bodyPr>
                <a:lstStyle/>
                <a:p>
                  <a:pPr>
                    <a:defRPr b="1"/>
                  </a:pPr>
                  <a:endParaRPr lang="nb-NO"/>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2-3074-4D3D-8665-91F0D2B5A024}"/>
                </c:ext>
              </c:extLst>
            </c:dLbl>
            <c:dLbl>
              <c:idx val="1"/>
              <c:layout>
                <c:manualLayout>
                  <c:x val="-3.1055900621117872E-3"/>
                  <c:y val="-2.7625511180718698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069A-427B-B896-6DE3B9ADFFFE}"/>
                </c:ext>
              </c:extLst>
            </c:dLbl>
            <c:dLbl>
              <c:idx val="2"/>
              <c:delete val="1"/>
              <c:extLst>
                <c:ext xmlns:c15="http://schemas.microsoft.com/office/drawing/2012/chart" uri="{CE6537A1-D6FC-4f65-9D91-7224C49458BB}"/>
                <c:ext xmlns:c16="http://schemas.microsoft.com/office/drawing/2014/chart" uri="{C3380CC4-5D6E-409C-BE32-E72D297353CC}">
                  <c16:uniqueId val="{00000001-98D7-473D-A87B-DB7B68DD19DF}"/>
                </c:ext>
              </c:extLst>
            </c:dLbl>
            <c:dLbl>
              <c:idx val="3"/>
              <c:delete val="1"/>
              <c:extLst>
                <c:ext xmlns:c15="http://schemas.microsoft.com/office/drawing/2012/chart" uri="{CE6537A1-D6FC-4f65-9D91-7224C49458BB}"/>
                <c:ext xmlns:c16="http://schemas.microsoft.com/office/drawing/2014/chart" uri="{C3380CC4-5D6E-409C-BE32-E72D297353CC}">
                  <c16:uniqueId val="{00000000-98D7-473D-A87B-DB7B68DD19DF}"/>
                </c:ext>
              </c:extLst>
            </c:dLbl>
            <c:dLbl>
              <c:idx val="4"/>
              <c:layout>
                <c:manualLayout>
                  <c:x val="-0.12677954643938866"/>
                  <c:y val="2.960739994256545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1"/>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173682.55905146565</c:v>
                </c:pt>
                <c:pt idx="1">
                  <c:v>13312.06175764105</c:v>
                </c:pt>
                <c:pt idx="2">
                  <c:v>0</c:v>
                </c:pt>
                <c:pt idx="3">
                  <c:v>412.40921471487053</c:v>
                </c:pt>
                <c:pt idx="4">
                  <c:v>86099.046211631736</c:v>
                </c:pt>
                <c:pt idx="5">
                  <c:v>6116.4117278450367</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0"/>
              <c:layout>
                <c:manualLayout>
                  <c:x val="-9.893211187229857E-2"/>
                  <c:y val="9.6950643727400448E-2"/>
                </c:manualLayout>
              </c:layout>
              <c:showLegendKey val="0"/>
              <c:showVal val="1"/>
              <c:showCatName val="0"/>
              <c:showSerName val="0"/>
              <c:showPercent val="0"/>
              <c:showBubbleSize val="0"/>
              <c:extLst>
                <c:ext xmlns:c15="http://schemas.microsoft.com/office/drawing/2012/chart" uri="{CE6537A1-D6FC-4f65-9D91-7224C49458BB}">
                  <c15:layout>
                    <c:manualLayout>
                      <c:w val="0.30394192718418511"/>
                      <c:h val="6.9800820336300196E-2"/>
                    </c:manualLayout>
                  </c15:layout>
                </c:ext>
                <c:ext xmlns:c16="http://schemas.microsoft.com/office/drawing/2014/chart" uri="{C3380CC4-5D6E-409C-BE32-E72D297353CC}">
                  <c16:uniqueId val="{00000001-AC8C-45B7-B9AA-CC9E9C7A8906}"/>
                </c:ext>
              </c:extLst>
            </c:dLbl>
            <c:dLbl>
              <c:idx val="1"/>
              <c:layout>
                <c:manualLayout>
                  <c:x val="-0.12889218291646079"/>
                  <c:y val="-8.38274613753090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9572844748919428"/>
                      <c:h val="6.9800820336300196E-2"/>
                    </c:manualLayout>
                  </c15:layout>
                </c:ext>
                <c:ext xmlns:c16="http://schemas.microsoft.com/office/drawing/2014/chart" uri="{C3380CC4-5D6E-409C-BE32-E72D297353CC}">
                  <c16:uniqueId val="{00000005-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3598062686517835</c:v>
                </c:pt>
                <c:pt idx="1">
                  <c:v>4.6229565457629261E-2</c:v>
                </c:pt>
                <c:pt idx="2">
                  <c:v>0.59396416589058731</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8484493402521481E-2</c:v>
                </c:pt>
                <c:pt idx="1">
                  <c:v>0</c:v>
                </c:pt>
                <c:pt idx="2" formatCode="###0.000\ %_ ;_*\-###0.000\ %_ ;_*&quot;-&quot;">
                  <c:v>0</c:v>
                </c:pt>
                <c:pt idx="3">
                  <c:v>0.98044663317210745</c:v>
                </c:pt>
                <c:pt idx="4">
                  <c:v>0.91806427086077935</c:v>
                </c:pt>
                <c:pt idx="5">
                  <c:v>0.59396416589058731</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935581156450612</c:v>
                </c:pt>
                <c:pt idx="1">
                  <c:v>0</c:v>
                </c:pt>
                <c:pt idx="2">
                  <c:v>0</c:v>
                </c:pt>
                <c:pt idx="3">
                  <c:v>8.2509018180190793E-3</c:v>
                </c:pt>
                <c:pt idx="4">
                  <c:v>7.2685090750811407E-2</c:v>
                </c:pt>
                <c:pt idx="5">
                  <c:v>4.6229565457629254E-2</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21596950329725</c:v>
                </c:pt>
                <c:pt idx="1">
                  <c:v>1</c:v>
                </c:pt>
                <c:pt idx="2">
                  <c:v>1</c:v>
                </c:pt>
                <c:pt idx="3">
                  <c:v>1.130246500987349E-2</c:v>
                </c:pt>
                <c:pt idx="4">
                  <c:v>9.2506383884092217E-3</c:v>
                </c:pt>
                <c:pt idx="5">
                  <c:v>0.3598062686517835</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jøfart!$L$14:$L$28</c:f>
              <c:strCache>
                <c:ptCount val="15"/>
                <c:pt idx="0">
                  <c:v>Andre aktiviteter sjøfart</c:v>
                </c:pt>
                <c:pt idx="1">
                  <c:v>Stykkgodsskip</c:v>
                </c:pt>
                <c:pt idx="2">
                  <c:v>Passasjer</c:v>
                </c:pt>
                <c:pt idx="3">
                  <c:v>Offshore supply skip</c:v>
                </c:pt>
                <c:pt idx="4">
                  <c:v>Kjemikalietankere</c:v>
                </c:pt>
                <c:pt idx="5">
                  <c:v>Cruiseskip</c:v>
                </c:pt>
                <c:pt idx="6">
                  <c:v>Fiskefartøy</c:v>
                </c:pt>
                <c:pt idx="7">
                  <c:v>Bulkskip</c:v>
                </c:pt>
                <c:pt idx="8">
                  <c:v>Ro Ro last</c:v>
                </c:pt>
                <c:pt idx="9">
                  <c:v>Kjøle-/ fryseskip</c:v>
                </c:pt>
                <c:pt idx="10">
                  <c:v>Råoljetankere</c:v>
                </c:pt>
                <c:pt idx="11">
                  <c:v>Konteinerskip</c:v>
                </c:pt>
                <c:pt idx="12">
                  <c:v>Oljeprodukttankere</c:v>
                </c:pt>
                <c:pt idx="13">
                  <c:v>Gasstankere</c:v>
                </c:pt>
                <c:pt idx="14">
                  <c:v>Andre offshore service skip</c:v>
                </c:pt>
              </c:strCache>
            </c:strRef>
          </c:cat>
          <c:val>
            <c:numRef>
              <c:f>Sjøfart!$M$14:$M$28</c:f>
              <c:numCache>
                <c:formatCode>_(* #,##0_);_(* \(#,##0\);_(* "-"_);_(@_)</c:formatCode>
                <c:ptCount val="15"/>
                <c:pt idx="0">
                  <c:v>43564.525828072903</c:v>
                </c:pt>
                <c:pt idx="1">
                  <c:v>11294.5354271749</c:v>
                </c:pt>
                <c:pt idx="2">
                  <c:v>8702.2666452732992</c:v>
                </c:pt>
                <c:pt idx="3">
                  <c:v>2515.0139561240999</c:v>
                </c:pt>
                <c:pt idx="4">
                  <c:v>2415.1006610455001</c:v>
                </c:pt>
                <c:pt idx="5">
                  <c:v>2269.2937938656</c:v>
                </c:pt>
                <c:pt idx="6">
                  <c:v>2096.9268569685</c:v>
                </c:pt>
                <c:pt idx="7">
                  <c:v>1740.6681089076999</c:v>
                </c:pt>
                <c:pt idx="8">
                  <c:v>1080.2701342908001</c:v>
                </c:pt>
                <c:pt idx="9">
                  <c:v>870.7703999396</c:v>
                </c:pt>
                <c:pt idx="10">
                  <c:v>757.88097110939998</c:v>
                </c:pt>
                <c:pt idx="11">
                  <c:v>224.13805095960001</c:v>
                </c:pt>
                <c:pt idx="12">
                  <c:v>213.77193797309999</c:v>
                </c:pt>
                <c:pt idx="13">
                  <c:v>195.10233128520002</c:v>
                </c:pt>
                <c:pt idx="14">
                  <c:v>0</c:v>
                </c:pt>
              </c:numCache>
            </c:numRef>
          </c:val>
          <c:extLst>
            <c:ext xmlns:c16="http://schemas.microsoft.com/office/drawing/2014/chart" uri="{C3380CC4-5D6E-409C-BE32-E72D297353CC}">
              <c16:uniqueId val="{00000000-D53F-4036-BD81-E2C2D3A547DE}"/>
            </c:ext>
          </c:extLst>
        </c:ser>
        <c:dLbls>
          <c:showLegendKey val="0"/>
          <c:showVal val="0"/>
          <c:showCatName val="0"/>
          <c:showSerName val="0"/>
          <c:showPercent val="0"/>
          <c:showBubbleSize val="0"/>
        </c:dLbls>
        <c:gapWidth val="219"/>
        <c:overlap val="-27"/>
        <c:axId val="217187392"/>
        <c:axId val="217187720"/>
      </c:barChart>
      <c:catAx>
        <c:axId val="21718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720"/>
        <c:crosses val="autoZero"/>
        <c:auto val="1"/>
        <c:lblAlgn val="ctr"/>
        <c:lblOffset val="100"/>
        <c:noMultiLvlLbl val="0"/>
      </c:catAx>
      <c:valAx>
        <c:axId val="217187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n CO</a:t>
                </a:r>
                <a:r>
                  <a:rPr lang="nb-NO" sz="1400" baseline="-25000" dirty="0"/>
                  <a:t>2</a:t>
                </a:r>
                <a:r>
                  <a:rPr lang="nb-NO" sz="1400" dirty="0"/>
                  <a:t>-ekvivalenter</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1"/>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I$104</c:f>
              <c:strCache>
                <c:ptCount val="1"/>
                <c:pt idx="0">
                  <c:v>Kvotepliktig</c:v>
                </c:pt>
              </c:strCache>
            </c:strRef>
          </c:tx>
          <c:spPr>
            <a:solidFill>
              <a:schemeClr val="accent3"/>
            </a:solidFill>
            <a:ln>
              <a:noFill/>
            </a:ln>
            <a:effectLst/>
          </c:spPr>
          <c:invertIfNegative val="0"/>
          <c:cat>
            <c:strRef>
              <c:f>'Grafer til notat'!$G$105:$G$109</c:f>
              <c:strCache>
                <c:ptCount val="5"/>
                <c:pt idx="0">
                  <c:v>Eramet Norway Kvinesdal</c:v>
                </c:pt>
                <c:pt idx="1">
                  <c:v>Alcoa Lista </c:v>
                </c:pt>
                <c:pt idx="2">
                  <c:v>Aludyne Norway</c:v>
                </c:pt>
                <c:pt idx="3">
                  <c:v>Finny Sirevaag AS</c:v>
                </c:pt>
                <c:pt idx="4">
                  <c:v>#I/T</c:v>
                </c:pt>
              </c:strCache>
            </c:strRef>
          </c:cat>
          <c:val>
            <c:numRef>
              <c:f>'Grafer til notat'!$I$105:$I$109</c:f>
              <c:numCache>
                <c:formatCode>General</c:formatCode>
                <c:ptCount val="5"/>
                <c:pt idx="0">
                  <c:v>241091</c:v>
                </c:pt>
                <c:pt idx="1">
                  <c:v>152402</c:v>
                </c:pt>
                <c:pt idx="2">
                  <c:v>0</c:v>
                </c:pt>
                <c:pt idx="3">
                  <c:v>0</c:v>
                </c:pt>
                <c:pt idx="4">
                  <c:v>#N/A</c:v>
                </c:pt>
              </c:numCache>
            </c:numRef>
          </c:val>
          <c:extLst>
            <c:ext xmlns:c16="http://schemas.microsoft.com/office/drawing/2014/chart" uri="{C3380CC4-5D6E-409C-BE32-E72D297353CC}">
              <c16:uniqueId val="{00000000-4717-470C-8047-DD5234F7B502}"/>
            </c:ext>
          </c:extLst>
        </c:ser>
        <c:ser>
          <c:idx val="1"/>
          <c:order val="1"/>
          <c:tx>
            <c:strRef>
              <c:f>'Grafer til notat'!$J$104</c:f>
              <c:strCache>
                <c:ptCount val="1"/>
                <c:pt idx="0">
                  <c:v>Ikke-kvotepliktig</c:v>
                </c:pt>
              </c:strCache>
            </c:strRef>
          </c:tx>
          <c:spPr>
            <a:solidFill>
              <a:schemeClr val="accent5"/>
            </a:solidFill>
            <a:ln>
              <a:noFill/>
            </a:ln>
            <a:effectLst/>
          </c:spPr>
          <c:invertIfNegative val="0"/>
          <c:cat>
            <c:strRef>
              <c:f>'Grafer til notat'!$G$105:$G$109</c:f>
              <c:strCache>
                <c:ptCount val="5"/>
                <c:pt idx="0">
                  <c:v>Eramet Norway Kvinesdal</c:v>
                </c:pt>
                <c:pt idx="1">
                  <c:v>Alcoa Lista </c:v>
                </c:pt>
                <c:pt idx="2">
                  <c:v>Aludyne Norway</c:v>
                </c:pt>
                <c:pt idx="3">
                  <c:v>Finny Sirevaag AS</c:v>
                </c:pt>
                <c:pt idx="4">
                  <c:v>#I/T</c:v>
                </c:pt>
              </c:strCache>
            </c:strRef>
          </c:cat>
          <c:val>
            <c:numRef>
              <c:f>'Grafer til notat'!$J$105:$J$109</c:f>
              <c:numCache>
                <c:formatCode>General</c:formatCode>
                <c:ptCount val="5"/>
                <c:pt idx="0">
                  <c:v>0</c:v>
                </c:pt>
                <c:pt idx="1">
                  <c:v>0</c:v>
                </c:pt>
                <c:pt idx="2">
                  <c:v>2055</c:v>
                </c:pt>
                <c:pt idx="3">
                  <c:v>273</c:v>
                </c:pt>
                <c:pt idx="4">
                  <c:v>#N/A</c:v>
                </c:pt>
              </c:numCache>
            </c:numRef>
          </c:val>
          <c:extLst>
            <c:ext xmlns:c16="http://schemas.microsoft.com/office/drawing/2014/chart" uri="{C3380CC4-5D6E-409C-BE32-E72D297353CC}">
              <c16:uniqueId val="{00000001-4717-470C-8047-DD5234F7B502}"/>
            </c:ext>
          </c:extLst>
        </c:ser>
        <c:dLbls>
          <c:showLegendKey val="0"/>
          <c:showVal val="0"/>
          <c:showCatName val="0"/>
          <c:showSerName val="0"/>
          <c:showPercent val="0"/>
          <c:showBubbleSize val="0"/>
        </c:dLbls>
        <c:gapWidth val="150"/>
        <c:overlap val="100"/>
        <c:axId val="679571320"/>
        <c:axId val="679571976"/>
      </c:barChart>
      <c:catAx>
        <c:axId val="679571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976"/>
        <c:crosses val="autoZero"/>
        <c:auto val="1"/>
        <c:lblAlgn val="ctr"/>
        <c:lblOffset val="100"/>
        <c:noMultiLvlLbl val="0"/>
      </c:catAx>
      <c:valAx>
        <c:axId val="679571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a:t>
                </a:r>
                <a:r>
                  <a:rPr lang="nb-NO" sz="1400" baseline="0" dirty="0"/>
                  <a:t>n CO</a:t>
                </a:r>
                <a:r>
                  <a:rPr lang="nb-NO" sz="1400" baseline="-25000" dirty="0"/>
                  <a:t>2</a:t>
                </a:r>
                <a:r>
                  <a:rPr lang="nb-NO" sz="1400" baseline="0" dirty="0"/>
                  <a:t>-ekvivalenter</a:t>
                </a:r>
                <a:endParaRPr lang="nb-NO" sz="1400" dirty="0"/>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32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1"/>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1740.6681089076999</c:v>
                </c:pt>
                <c:pt idx="1">
                  <c:v>1740.6681089076999</c:v>
                </c:pt>
                <c:pt idx="2">
                  <c:v>1740.6681089076999</c:v>
                </c:pt>
                <c:pt idx="3">
                  <c:v>1740.6681089076999</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2087.5476545278257</c:v>
                </c:pt>
                <c:pt idx="2">
                  <c:v>2087.5476545278257</c:v>
                </c:pt>
                <c:pt idx="3">
                  <c:v>2087.5476545278257</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30124.68150940078</c:v>
                </c:pt>
                <c:pt idx="2">
                  <c:v>30124.68150940078</c:v>
                </c:pt>
                <c:pt idx="3">
                  <c:v>30124.68150940078</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30364.019145669605</c:v>
                </c:pt>
                <c:pt idx="2">
                  <c:v>30364.019145669605</c:v>
                </c:pt>
                <c:pt idx="3">
                  <c:v>30364.019145669605</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10691.243015890026</c:v>
                </c:pt>
                <c:pt idx="2">
                  <c:v>10691.243015890026</c:v>
                </c:pt>
                <c:pt idx="3">
                  <c:v>10691.243015890026</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21418.318260123779</c:v>
                </c:pt>
                <c:pt idx="3" formatCode="#,##0">
                  <c:v>21418.318260123779</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2515.0139561240999</c:v>
                </c:pt>
                <c:pt idx="3" formatCode="#,##0">
                  <c:v>2515.0139561240999</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13469.714012364901</c:v>
                </c:pt>
                <c:pt idx="3" formatCode="#,##0">
                  <c:v>13469.714012364901</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43564.525828072903</c:v>
                </c:pt>
                <c:pt idx="3" formatCode="#,##0">
                  <c:v>43564.525828072903</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2096.9268569685</c:v>
                </c:pt>
                <c:pt idx="3" formatCode="#,##0">
                  <c:v>2096.9268569685</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2269.2937938656</c:v>
                </c:pt>
                <c:pt idx="3" formatCode="#,##0">
                  <c:v>2269.2937938656</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172626.07468860218</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8702.2666452732992</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3581.8559014131606</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62113229989664576</cx:pt>
          <cx:pt idx="1">0.023348697703515331</cx:pt>
          <cx:pt idx="2">0.35551900239983886</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279622.48796329834</cx:pt>
          <cx:pt idx="1">-40815.924525290808</cx:pt>
          <cx:pt idx="2">-30364.019145669605</cx:pt>
          <cx:pt idx="3">-2087.5476545278257</cx:pt>
          <cx:pt idx="4">-2269.2937938656</cx:pt>
          <cx:pt idx="5">-8702.2666452732992</cx:pt>
          <cx:pt idx="6">-13469.714012364901</cx:pt>
          <cx:pt idx="7">-53498.990651486376</cx:pt>
          <cx:pt idx="8">-21418.318260123779</cx:pt>
          <cx:pt idx="9">106996.4132746961</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2</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3</a:t>
            </a:fld>
            <a:endParaRPr lang="nb-NO" dirty="0"/>
          </a:p>
        </p:txBody>
      </p:sp>
    </p:spTree>
    <p:extLst>
      <p:ext uri="{BB962C8B-B14F-4D97-AF65-F5344CB8AC3E}">
        <p14:creationId xmlns:p14="http://schemas.microsoft.com/office/powerpoint/2010/main" val="150452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orteringen av datagrunnlaget skjer under fanen Sjøfart i ERA-modellen</a:t>
            </a:r>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6784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4853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7.sv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6.xml"/><Relationship Id="rId21" Type="http://schemas.openxmlformats.org/officeDocument/2006/relationships/image" Target="../media/image35.svg"/><Relationship Id="rId7" Type="http://schemas.openxmlformats.org/officeDocument/2006/relationships/chart" Target="../charts/chart3.xml"/><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12.xml"/><Relationship Id="rId6" Type="http://schemas.openxmlformats.org/officeDocument/2006/relationships/image" Target="../media/image23.png"/><Relationship Id="rId11" Type="http://schemas.openxmlformats.org/officeDocument/2006/relationships/image" Target="../media/image25.svg"/><Relationship Id="rId24" Type="http://schemas.openxmlformats.org/officeDocument/2006/relationships/image" Target="../media/image38.png"/><Relationship Id="rId5" Type="http://schemas.microsoft.com/office/2014/relationships/chartEx" Target="../charts/chartEx1.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16.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15.xml"/><Relationship Id="rId16" Type="http://schemas.openxmlformats.org/officeDocument/2006/relationships/image" Target="../media/image53.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i</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4" name="Bilde 3">
            <a:extLst>
              <a:ext uri="{FF2B5EF4-FFF2-40B4-BE49-F238E27FC236}">
                <a16:creationId xmlns:a16="http://schemas.microsoft.com/office/drawing/2014/main" id="{5DCBD77C-6054-1523-761E-0ECCF4F32245}"/>
              </a:ext>
            </a:extLst>
          </p:cNvPr>
          <p:cNvPicPr/>
          <p:nvPr/>
        </p:nvPicPr>
        <p:blipFill>
          <a:blip r:embed="rId7"/>
          <a:stretch>
            <a:fillRect/>
          </a:stretch>
        </p:blipFill>
        <p:spPr>
          <a:xfrm>
            <a:off x="9134475" y="2635250"/>
            <a:ext cx="3208338" cy="936625"/>
          </a:xfrm>
          <a:prstGeom prst="rect">
            <a:avLst/>
          </a:prstGeom>
        </p:spPr>
      </p:pic>
      <p:pic>
        <p:nvPicPr>
          <p:cNvPr id="6" name="Bilde 5">
            <a:extLst>
              <a:ext uri="{FF2B5EF4-FFF2-40B4-BE49-F238E27FC236}">
                <a16:creationId xmlns:a16="http://schemas.microsoft.com/office/drawing/2014/main" id="{39981D1F-88BD-ACBA-E0EC-218CBF278247}"/>
              </a:ext>
            </a:extLst>
          </p:cNvPr>
          <p:cNvPicPr/>
          <p:nvPr/>
        </p:nvPicPr>
        <p:blipFill>
          <a:blip r:embed="rId8"/>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68B734C8-3229-FD76-5B5D-2B6FC7238D4C}"/>
              </a:ext>
            </a:extLst>
          </p:cNvPr>
          <p:cNvPicPr/>
          <p:nvPr/>
        </p:nvPicPr>
        <p:blipFill>
          <a:blip r:embed="rId9"/>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3244346301"/>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229606368"/>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2B685612-5C4A-214C-373B-250A58407E5B}"/>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526FFFCD-5A22-99D8-5575-64B99A029F4D}"/>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B5424B77-62FC-AF08-2255-D6B0AF7A9255}"/>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0FBD12C1-F391-876F-710F-1BB16A32E9C5}"/>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0294BD89-C503-2C17-4188-028D37B4A7A7}"/>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D8A773BC-4CB7-A702-C35B-FA3E3C7352B3}"/>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25228C4F-FD70-4249-9254-734EF6BFD6A6}"/>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A31707BC-A945-5A1C-D8D3-68BCD5EEC584}"/>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72207927"/>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2429722939"/>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E680BBB8-C4B0-ACB2-B84F-541A434F3361}"/>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328029047"/>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2057856817"/>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990948158"/>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7332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sjøfart</a:t>
            </a:r>
          </a:p>
        </p:txBody>
      </p:sp>
      <p:sp>
        <p:nvSpPr>
          <p:cNvPr id="10" name="TextBox 9">
            <a:extLst>
              <a:ext uri="{FF2B5EF4-FFF2-40B4-BE49-F238E27FC236}">
                <a16:creationId xmlns:a16="http://schemas.microsoft.com/office/drawing/2014/main" id="{AB89837B-74BD-4C0F-A4E5-1F5D44C9E3B7}"/>
              </a:ext>
            </a:extLst>
          </p:cNvPr>
          <p:cNvSpPr txBox="1"/>
          <p:nvPr/>
        </p:nvSpPr>
        <p:spPr>
          <a:xfrm>
            <a:off x="9097347" y="6562531"/>
            <a:ext cx="3094654" cy="261610"/>
          </a:xfrm>
          <a:prstGeom prst="rect">
            <a:avLst/>
          </a:prstGeom>
          <a:noFill/>
        </p:spPr>
        <p:txBody>
          <a:bodyPr wrap="square" rtlCol="0">
            <a:spAutoFit/>
          </a:bodyPr>
          <a:lstStyle/>
          <a:p>
            <a:pPr algn="l"/>
            <a:r>
              <a:rPr lang="nb-NO" sz="1100" dirty="0">
                <a:solidFill>
                  <a:schemeClr val="bg2">
                    <a:lumMod val="75000"/>
                  </a:schemeClr>
                </a:solidFill>
              </a:rPr>
              <a:t>Figur 2 i ERA-modellen. Kilde: Miljødirektoratet</a:t>
            </a:r>
            <a:endParaRPr lang="nb-NO" dirty="0">
              <a:solidFill>
                <a:schemeClr val="bg2">
                  <a:lumMod val="75000"/>
                </a:schemeClr>
              </a:solidFill>
            </a:endParaRPr>
          </a:p>
        </p:txBody>
      </p:sp>
      <p:graphicFrame>
        <p:nvGraphicFramePr>
          <p:cNvPr id="12" name="Chart 11">
            <a:extLst>
              <a:ext uri="{FF2B5EF4-FFF2-40B4-BE49-F238E27FC236}">
                <a16:creationId xmlns:a16="http://schemas.microsoft.com/office/drawing/2014/main" id="{2215981E-83F4-43A3-86A5-16785E5E33DA}"/>
              </a:ext>
            </a:extLst>
          </p:cNvPr>
          <p:cNvGraphicFramePr>
            <a:graphicFrameLocks/>
          </p:cNvGraphicFramePr>
          <p:nvPr>
            <p:extLst>
              <p:ext uri="{D42A27DB-BD31-4B8C-83A1-F6EECF244321}">
                <p14:modId xmlns:p14="http://schemas.microsoft.com/office/powerpoint/2010/main" val="570093272"/>
              </p:ext>
            </p:extLst>
          </p:nvPr>
        </p:nvGraphicFramePr>
        <p:xfrm>
          <a:off x="1052423" y="1444095"/>
          <a:ext cx="10757139" cy="45943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053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177068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de største industriaktørene </a:t>
            </a:r>
          </a:p>
        </p:txBody>
      </p:sp>
      <p:sp>
        <p:nvSpPr>
          <p:cNvPr id="10" name="TextBox 9">
            <a:extLst>
              <a:ext uri="{FF2B5EF4-FFF2-40B4-BE49-F238E27FC236}">
                <a16:creationId xmlns:a16="http://schemas.microsoft.com/office/drawing/2014/main" id="{AB89837B-74BD-4C0F-A4E5-1F5D44C9E3B7}"/>
              </a:ext>
            </a:extLst>
          </p:cNvPr>
          <p:cNvSpPr txBox="1"/>
          <p:nvPr/>
        </p:nvSpPr>
        <p:spPr>
          <a:xfrm>
            <a:off x="10571001" y="6562531"/>
            <a:ext cx="1620999" cy="261610"/>
          </a:xfrm>
          <a:prstGeom prst="rect">
            <a:avLst/>
          </a:prstGeom>
          <a:noFill/>
        </p:spPr>
        <p:txBody>
          <a:bodyPr wrap="square" rtlCol="0">
            <a:spAutoFit/>
          </a:bodyPr>
          <a:lstStyle/>
          <a:p>
            <a:pPr algn="l"/>
            <a:r>
              <a:rPr lang="nb-NO" sz="1100" dirty="0">
                <a:solidFill>
                  <a:schemeClr val="bg2">
                    <a:lumMod val="75000"/>
                  </a:schemeClr>
                </a:solidFill>
              </a:rPr>
              <a:t>Kilde: Miljødirektoratet</a:t>
            </a:r>
            <a:endParaRPr lang="nb-NO" dirty="0">
              <a:solidFill>
                <a:schemeClr val="bg2">
                  <a:lumMod val="75000"/>
                </a:schemeClr>
              </a:solidFill>
            </a:endParaRPr>
          </a:p>
        </p:txBody>
      </p:sp>
      <p:graphicFrame>
        <p:nvGraphicFramePr>
          <p:cNvPr id="13" name="Chart 12">
            <a:extLst>
              <a:ext uri="{FF2B5EF4-FFF2-40B4-BE49-F238E27FC236}">
                <a16:creationId xmlns:a16="http://schemas.microsoft.com/office/drawing/2014/main" id="{56615FA3-2FD3-49D9-9A45-AA98DE84C9DF}"/>
              </a:ext>
            </a:extLst>
          </p:cNvPr>
          <p:cNvGraphicFramePr>
            <a:graphicFrameLocks/>
          </p:cNvGraphicFramePr>
          <p:nvPr>
            <p:extLst>
              <p:ext uri="{D42A27DB-BD31-4B8C-83A1-F6EECF244321}">
                <p14:modId xmlns:p14="http://schemas.microsoft.com/office/powerpoint/2010/main" val="2003175724"/>
              </p:ext>
            </p:extLst>
          </p:nvPr>
        </p:nvGraphicFramePr>
        <p:xfrm>
          <a:off x="509954" y="1336431"/>
          <a:ext cx="11139854" cy="445189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37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30</TotalTime>
  <Words>642</Words>
  <Application>Microsoft Office PowerPoint</Application>
  <PresentationFormat>Widescreen</PresentationFormat>
  <Paragraphs>121</Paragraphs>
  <Slides>13</Slides>
  <Notes>1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3</vt:i4>
      </vt:variant>
    </vt:vector>
  </HeadingPairs>
  <TitlesOfParts>
    <vt:vector size="19" baseType="lpstr">
      <vt:lpstr>Arial</vt:lpstr>
      <vt:lpstr>Arial Black</vt:lpstr>
      <vt:lpstr>Calibri</vt:lpstr>
      <vt:lpstr>Wingdings</vt:lpstr>
      <vt:lpstr>Agder fylkeskommune PowerPointmal 16:9</vt:lpstr>
      <vt:lpstr>think-cell Slide</vt:lpstr>
      <vt:lpstr>Klimagassutslipp og energiforbruk i</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 fra sjøfart</vt:lpstr>
      <vt:lpstr>Utslipp fra de største industriaktørene </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35:43Z</dcterms:modified>
</cp:coreProperties>
</file>